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40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6BB00E-85D1-4BD8-B8E6-1289996EDA0F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E8A2BD-7051-45A5-B598-178B7D29D1C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76237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2593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500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335421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087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782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43916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42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745496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9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50" Type="http://schemas.openxmlformats.org/officeDocument/2006/relationships/tags" Target="../tags/tag53.xml"/><Relationship Id="rId55" Type="http://schemas.openxmlformats.org/officeDocument/2006/relationships/tags" Target="../tags/tag58.xml"/><Relationship Id="rId63" Type="http://schemas.openxmlformats.org/officeDocument/2006/relationships/tags" Target="../tags/tag6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tags" Target="../tags/tag56.xml"/><Relationship Id="rId58" Type="http://schemas.openxmlformats.org/officeDocument/2006/relationships/tags" Target="../tags/tag61.xml"/><Relationship Id="rId66" Type="http://schemas.openxmlformats.org/officeDocument/2006/relationships/oleObject" Target="../embeddings/oleObject5.bin"/><Relationship Id="rId5" Type="http://schemas.openxmlformats.org/officeDocument/2006/relationships/tags" Target="../tags/tag8.xml"/><Relationship Id="rId61" Type="http://schemas.openxmlformats.org/officeDocument/2006/relationships/tags" Target="../tags/tag64.xml"/><Relationship Id="rId19" Type="http://schemas.openxmlformats.org/officeDocument/2006/relationships/tags" Target="../tags/tag2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tags" Target="../tags/tag59.xml"/><Relationship Id="rId64" Type="http://schemas.openxmlformats.org/officeDocument/2006/relationships/slideLayout" Target="../slideLayouts/slideLayout5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tags" Target="../tags/tag62.xml"/><Relationship Id="rId67" Type="http://schemas.openxmlformats.org/officeDocument/2006/relationships/image" Target="../media/image4.emf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62" Type="http://schemas.openxmlformats.org/officeDocument/2006/relationships/tags" Target="../tags/tag65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tags" Target="../tags/tag60.xml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tags" Target="../tags/tag63.xml"/><Relationship Id="rId65" Type="http://schemas.openxmlformats.org/officeDocument/2006/relationships/notesSlide" Target="../notesSlides/notesSlide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9" Type="http://schemas.openxmlformats.org/officeDocument/2006/relationships/tags" Target="../tags/tag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66" imgW="349" imgH="350" progId="TCLayout.ActiveDocument.1">
                  <p:embed/>
                </p:oleObj>
              </mc:Choice>
              <mc:Fallback>
                <p:oleObj name="think-cell 幻灯片" r:id="rId6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D3A178A-2798-AC3F-C8F7-78068F8AE37F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064250" y="4846638"/>
            <a:ext cx="1166813" cy="58261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86530E2-053E-C088-2CCD-943D0A7A77F9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064250" y="4535487"/>
            <a:ext cx="1166813" cy="3111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7ADB66E7-2BD8-EA81-C61C-0CE124BCF6E7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562225" y="4495799"/>
            <a:ext cx="3502025" cy="93345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080FE03-4BDC-DB28-D97E-B820F524876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562225" y="3717925"/>
            <a:ext cx="3502025" cy="77787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D86424F9-AC52-CCEB-2733-DE2961D8815D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103313" y="3990975"/>
            <a:ext cx="1458913" cy="143827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B14165F-36A5-9DA0-99FD-BFBCAFA0AAA7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103313" y="2940050"/>
            <a:ext cx="1458913" cy="10509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0057E5E4-4F3E-1BF7-C03B-6981E1145536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782638" y="3795713"/>
            <a:ext cx="320675" cy="163353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0A66079-29E4-C5CF-1420-B6D853CCFD3D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82638" y="2551112"/>
            <a:ext cx="320675" cy="12446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4BC6DFB0-D101-E3C4-B1EC-A62146F85D43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777875" y="5429250"/>
            <a:ext cx="64579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3E62B192-2EAF-E037-4A36-4C332BC63EFA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782638" y="2312988"/>
            <a:ext cx="0" cy="31210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2E65897-87AF-FBA1-3098-E49762A9E6F3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>
            <a:off x="723900" y="30956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48D2402C-02BA-6FA6-1CA2-F212A7934321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 flipH="1">
            <a:off x="723900" y="54292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8CDD18A1-B2F5-EA26-DC55-99B23FB5C5EF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 flipH="1">
            <a:off x="723900" y="38735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C0D7585A-879E-4D43-95D3-CE517E072114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 flipH="1">
            <a:off x="723900" y="50403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41243C6F-F5A4-9B3C-A1C2-4F4E52EF513F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 flipH="1">
            <a:off x="723900" y="34845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2406CFBC-F5A7-FB9B-DA18-995F379DB34A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 flipH="1">
            <a:off x="723900" y="46513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C386379-DBE9-DA42-0EE6-78CD24BDF846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H="1">
            <a:off x="723900" y="27066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F2AC8D10-3AFD-1A0E-F91C-939F380DFB9C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 flipH="1">
            <a:off x="723900" y="42624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D88A3B4-48BE-11A8-FF0A-CD523A558D2A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H="1">
            <a:off x="723900" y="23177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76238" y="2211388"/>
            <a:ext cx="2301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1FC10C3-B23C-4186-89F7-77600CB1055B}" type="datetime'''''''''''''''''''''''8''''0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490537" y="5322888"/>
            <a:ext cx="115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4F12561-6A3C-4BEA-B8F8-E380579B7E4B}" type="datetime'''''''''''''''''''''''''''''0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415925" y="4933950"/>
            <a:ext cx="190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E27E91F-036F-4D43-B2BD-6DD55A285391}" type="datetime'''''''''''''''''''''''''''''''''1''0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381000" y="4156075"/>
            <a:ext cx="225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02B70C8-56E6-4A5F-B435-826EF5F974F2}" type="datetime'''''''3''0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376238" y="3767138"/>
            <a:ext cx="2301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EDF58D2-13EB-4501-95D3-B2B4F16C7A2F}" type="datetime'''''''''''''''''''''''''''''''40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377825" y="3378200"/>
            <a:ext cx="228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3A4ABE9-0FD0-4E24-A772-E4866FF726F6}" type="datetime'''''''''''''''''''''5''''0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379413" y="4545013"/>
            <a:ext cx="2270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DCB0F7E-2FD4-4AFC-A888-5F3CCB41AB70}" type="datetime'''''''''''''''''''''''2''''''''''''0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79413" y="2989263"/>
            <a:ext cx="2270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4090D31-7751-45B6-87F8-3698938E5EE6}" type="datetime'''''''''''''''''''''''''6''''''''''0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93700" y="2600325"/>
            <a:ext cx="212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094EBC1-C116-4BC7-B8C6-CCD2AF6AB34A}" type="datetime'''7''''''''''''''0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2CD474B-FCBE-BA67-827E-0C119B0CD9DF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6064250" y="4535488"/>
            <a:ext cx="1171575" cy="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E985909-3A35-4C36-EFF8-275DB4F22FBB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777875" y="2551113"/>
            <a:ext cx="325438" cy="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D03CFA9-9F73-739B-2AC2-43FFC2A76AFB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1103313" y="2536825"/>
            <a:ext cx="0" cy="4175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FD50420-CBC9-BB76-97D0-3AA9760BC9BA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1103313" y="2940050"/>
            <a:ext cx="1458913" cy="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AA61EFA-CB13-27EF-2B29-069E8FC139FB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2562225" y="2925763"/>
            <a:ext cx="0" cy="8064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914819B-B32C-5C11-4685-8F72FC01FBA4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2562225" y="3717925"/>
            <a:ext cx="3502025" cy="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51A2D3F-6A71-D145-6AEE-B77030D39E9E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6064250" y="3703638"/>
            <a:ext cx="0" cy="846137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2" name="Arrow: Right 111">
            <a:extLst>
              <a:ext uri="{FF2B5EF4-FFF2-40B4-BE49-F238E27FC236}">
                <a16:creationId xmlns:a16="http://schemas.microsoft.com/office/drawing/2014/main" id="{B91BF439-B6AA-5E6C-9DEE-0CB3BBAF3237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 rot="10800000">
            <a:off x="7281863" y="35560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E2DCE9D1-1567-9F95-AEE5-8DC1BF3E357A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782638" y="3632200"/>
            <a:ext cx="33909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6CB2FAF-3813-8944-F98E-1B64D3761A6F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4452939" y="3632200"/>
            <a:ext cx="27781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10313D8F-3246-3C96-FE27-A35DE524AD2F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6564312" y="4584700"/>
            <a:ext cx="165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877E72D-E140-4C91-B042-EFD53D75DA03}" type="datetime'''''''''''''''''''''''''''''''''''8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752475" y="5487988"/>
            <a:ext cx="3810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3E075FA-CFC1-4EBC-8976-70FE56FA3CEC}" type="datetime'''''''''B''''''''''''''U'''''''''' ''''''''''''''''1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U 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1CA581F1-7199-3ABF-0388-E505556D28B4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6527801" y="5030788"/>
            <a:ext cx="238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44EA287-AE98-4EE7-B459-76EA36915B83}" type="datetime'''1''''''5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5CE771FC-6655-9280-958A-A2EB5252818C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6437313" y="54879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1E41118-A4FA-45F9-A82E-9ED5408DE5D8}" type="datetime'''''''''''''B''''''''''''''U'' ''''''''4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U 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C48FBAF8-C3DF-CE5C-B7B7-026C88AB258C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1703388" y="3359150"/>
            <a:ext cx="258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8C5FBC0-7368-41D8-AAAE-82DED40BB615}" type="datetime'''''2''7''''''''''''''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7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7378700" y="5216525"/>
            <a:ext cx="82232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Units</a:t>
            </a:r>
            <a:b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</a:b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produced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1703388" y="4603750"/>
            <a:ext cx="257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DE46C53-99CB-40C3-BCE0-343D039DBE1E}" type="datetime'''''''''''''''''''''''''''''''''''3''''''''''''''7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7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1624013" y="5487988"/>
            <a:ext cx="417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CD475C4-A240-4F23-8489-35EBAB1823A0}" type="datetime'B''''''''''''''''U'''' ''''''''''''''''''''''''''2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U 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812800" y="2312988"/>
            <a:ext cx="261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508A217-FF7C-4164-8EAC-649B3BF629C7}" type="datetime'''''''''''74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1693863" y="2701925"/>
            <a:ext cx="276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0EBA8D5-4316-40C7-88C2-03E868EE6D0D}" type="datetime'''''''6''''''''''''''''''''''4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4173538" y="3479800"/>
            <a:ext cx="279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A6FA445-3EFF-4318-AD24-9DC9697DC62C}" type="datetime'''''''''''''''''''''''''''''4''4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461249" y="352583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Ø </a:t>
            </a:r>
            <a:fld id="{8EF23001-268A-4C1C-A349-AD7E28B14989}" type="datetime'''''''''''''''''''''''''4''''''''''''6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376237" y="1855788"/>
            <a:ext cx="1873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Cost per unit [USD m]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F523A6D0-0481-0A1B-F701-528B97C5B7BC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4175125" y="4000500"/>
            <a:ext cx="2778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426FF52-667D-425F-86A0-140074D1122C}" type="datetime'''''''2''''''''''''''''''''''''0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2B90E189-F94E-0261-4AA3-9FA24267735F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808038" y="3067050"/>
            <a:ext cx="271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3234487-A499-4342-A6F0-854FA3F28F15}" type="datetime'''''''''''''''''''''''''''''''''''''''''''''3''''''''''2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4175125" y="4856163"/>
            <a:ext cx="276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BA18C04-5D05-4EF0-A5A9-5FDF98261124}" type="datetime'''''''''''''''2''''''''''''''''''''''''''''''4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4105275" y="5487988"/>
            <a:ext cx="4159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8B81156-D09A-4264-AA37-1FD2B0BD061F}" type="datetime'B''''''U'''''''''''''''' ''''''''''3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U 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804863" y="4505325"/>
            <a:ext cx="276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950444F-7F5F-421E-94A2-BD7AE1DD3C34}" type="datetime'''4''''''''''''''''''''''''''''2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906B4707-7AAA-1282-9284-231F8B1B1C18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6511925" y="4297363"/>
            <a:ext cx="271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2BE4ADD-9F5C-40D3-A113-B5C0C6CE0BBE}" type="datetime'''''''2''''''''3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D43EB0A-A9D6-8AE8-3914-09400031BEAF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3106738" y="5778500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A5A31FB2-F3F9-04DB-0089-297983E79800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4011613" y="577850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E5FF7DF-4631-C928-EE56-D1C280C31008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3408363" y="5773738"/>
            <a:ext cx="501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4313238" y="5773738"/>
            <a:ext cx="708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dirty="0">
                <a:solidFill>
                  <a:srgbClr val="F2F2F2">
                    <a:lumMod val="10000"/>
                  </a:srgbClr>
                </a:solidFill>
                <a:latin typeface="理想品牌字体 2022"/>
                <a:ea typeface="理想品牌字体 2022"/>
              </a:rPr>
              <a:t>{series_2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29DB2F0B-807C-3BFF-C602-8E3F51B2F8C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05880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hink-cell, chart, charts, graph, graphs,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marimekko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comment</a:t>
            </a:r>
          </a:p>
        </p:txBody>
      </p:sp>
      <p:sp>
        <p:nvSpPr>
          <p:cNvPr id="18" name="Rechteck 137">
            <a:extLst>
              <a:ext uri="{FF2B5EF4-FFF2-40B4-BE49-F238E27FC236}">
                <a16:creationId xmlns:a16="http://schemas.microsoft.com/office/drawing/2014/main" id="{08CAEA16-DD6E-611B-01F6-430198733330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19" name="tc_columnheader">
            <a:extLst>
              <a:ext uri="{FF2B5EF4-FFF2-40B4-BE49-F238E27FC236}">
                <a16:creationId xmlns:a16="http://schemas.microsoft.com/office/drawing/2014/main" id="{88296D28-85D0-40E4-0FA4-40BE96908756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20" name="tc_columnhead">
              <a:extLst>
                <a:ext uri="{FF2B5EF4-FFF2-40B4-BE49-F238E27FC236}">
                  <a16:creationId xmlns:a16="http://schemas.microsoft.com/office/drawing/2014/main" id="{5652FEBD-8EDB-85B4-F1AA-FB0E75DFBF7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_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21" name="tc_columnheadline">
              <a:extLst>
                <a:ext uri="{FF2B5EF4-FFF2-40B4-BE49-F238E27FC236}">
                  <a16:creationId xmlns:a16="http://schemas.microsoft.com/office/drawing/2014/main" id="{C5BAA1F2-C084-695D-E303-FA6FBA9A04E4}"/>
                </a:ext>
              </a:extLst>
            </p:cNvPr>
            <p:cNvCxnSpPr>
              <a:cxnSpLocks/>
              <a:stCxn id="20" idx="4"/>
              <a:endCxn id="2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tc_columnheader">
            <a:extLst>
              <a:ext uri="{FF2B5EF4-FFF2-40B4-BE49-F238E27FC236}">
                <a16:creationId xmlns:a16="http://schemas.microsoft.com/office/drawing/2014/main" id="{A49FE862-ABA7-8DCD-EDCC-FEEECE1E63A4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23" name="tc_columnhead">
              <a:extLst>
                <a:ext uri="{FF2B5EF4-FFF2-40B4-BE49-F238E27FC236}">
                  <a16:creationId xmlns:a16="http://schemas.microsoft.com/office/drawing/2014/main" id="{B568D603-8285-A1AA-5848-86DB9AED0F7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24" name="tc_columnheadline">
              <a:extLst>
                <a:ext uri="{FF2B5EF4-FFF2-40B4-BE49-F238E27FC236}">
                  <a16:creationId xmlns:a16="http://schemas.microsoft.com/office/drawing/2014/main" id="{9CF6B69A-AF1B-FAFF-AC27-486A01ACA84B}"/>
                </a:ext>
              </a:extLst>
            </p:cNvPr>
            <p:cNvCxnSpPr>
              <a:cxnSpLocks/>
              <a:stCxn id="23" idx="4"/>
              <a:endCxn id="2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8">
            <a:extLst>
              <a:ext uri="{FF2B5EF4-FFF2-40B4-BE49-F238E27FC236}">
                <a16:creationId xmlns:a16="http://schemas.microsoft.com/office/drawing/2014/main" id="{A3B9B32B-6DB9-481C-23DC-0CAD65FF2622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difference arrows)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113C0299-0341-46E3-AB54-2437E97E356E}"/>
              </a:ext>
            </a:extLst>
          </p:cNvPr>
          <p:cNvSpPr txBox="1"/>
          <p:nvPr/>
        </p:nvSpPr>
        <p:spPr>
          <a:xfrm>
            <a:off x="4859676" y="852755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填入图表内数据</a:t>
            </a:r>
          </a:p>
        </p:txBody>
      </p:sp>
    </p:spTree>
    <p:extLst>
      <p:ext uri="{BB962C8B-B14F-4D97-AF65-F5344CB8AC3E}">
        <p14:creationId xmlns:p14="http://schemas.microsoft.com/office/powerpoint/2010/main" val="2187783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UY3qdE44BTLYDqX58wG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k7RH_1mN8tRBKGe3jO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s4lSfU20JCJpQzMhTf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luHfbHXaOxKLUpS3X1q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XBqE38cH34fGlXXVPb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h7w1waOje5pBIkAiUn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G8.CiRWLaRdapHQ3ed6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aI1s_mMHWXZybvLSJrx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UAJJu0uT8eDkaLgiSd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V6fCoKoVBRruY3Vfsl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HSNeiRclkk89Bl4gzU.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o1565_6iYuAW6eR9qc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yi85HpN_UAe2.8BH2g_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ObQvtBapQcEKHSSjcUt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dGaX8X_oqiDIluYvbM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saO7D76PvxxkgvTCsxB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UHxQVkpoB19XI6q7fw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O8P_yAZY0BN2S_Pm5j7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ZfBYq5Rkt1vZ9CivgM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xkFqGWA5zQn19nckgi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NXILCGYWJYnis4.9Lm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jhFeLZYfdIQnTV47XQ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yuBeop8fxKJYLrXJJML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W0xEwh.MH6qu3hBi1QM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Rwsi_uVv8yqQjBWkfSc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DpKbKmaWiojKvo4cXws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q3kR1SYcseGaS_e2F8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Ug6nw7ECf5B6IAJmuEk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6.ytaMMOT.aJc.VFd4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wJCQtPmyEtst2rrX5N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AR97VOAt6d81s43wWj4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vNhtTqn2EMwDjjVqibb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Gsc3hDOE2HyiaAPjS2N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Cp1UT11wQkbLPlyJQK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oAOK6QfUmEI6U2K7rWi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cqrGb1TtHMhEd1iGrEP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O0groLbr_oKKOCws632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wGl5V4A5eFxvoEt50V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rY7n7645KmlfJuLXUJQ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expCa4XHcFCyyXJQpw2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a4zcdOUaTYBcOeigzQa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Bed.ZrjvJ2k6Ex4bGTl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4yvh.hdrczgQlJsxFMW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gQTprJEWU_b_jyatoxc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MP8OQ85rdKo.ldifCf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2IOsNNbYVpWzkO2HoB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ZtQsC2srBwuBKqJo9TA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icCa59shUAuwy_b2uua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_jtUBJy12CNpPgPDJTs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12yqKGzh.QNi2fYhiW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.JSTIAmsks7c8szsVtN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fVePbDO.F5ggl0xLzUK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4G6I3.V9Q_5R8j7svrw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065CRybgy81Tao9h522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WXWF4ISVEAElZmcEO6O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6daJmNj60m.XhD0edAp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quajIuYYZv09KCp9vsI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FAQvK507F2NC7LQGpXG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e8aKPhdpoHEaOby2YN0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W5jA1P2rd_ItQAJjSH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jRAcMpNcmBBlWUl4nCa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57</Words>
  <Application>Microsoft Office PowerPoint</Application>
  <PresentationFormat>宽屏</PresentationFormat>
  <Paragraphs>4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10T07:12:00Z</dcterms:created>
  <dcterms:modified xsi:type="dcterms:W3CDTF">2025-09-10T07:13:10Z</dcterms:modified>
</cp:coreProperties>
</file>